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8"/>
  </p:notesMasterIdLst>
  <p:sldIdLst>
    <p:sldId id="432" r:id="rId5"/>
    <p:sldId id="424" r:id="rId6"/>
    <p:sldId id="436" r:id="rId7"/>
  </p:sldIdLst>
  <p:sldSz cx="9144000" cy="6858000" type="screen4x3"/>
  <p:notesSz cx="6805613" cy="9939338"/>
  <p:custDataLst>
    <p:tags r:id="rId9"/>
  </p:custDataLst>
  <p:defaultTextStyle>
    <a:defPPr>
      <a:defRPr lang="en-A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97C771F-5BD0-41BE-A57D-CA0B01AD1106}">
          <p14:sldIdLst>
            <p14:sldId id="432"/>
            <p14:sldId id="424"/>
            <p14:sldId id="43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974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es Jobson" initials="CJ" lastIdx="1" clrIdx="0"/>
  <p:cmAuthor id="2" name="Steven LIVETT" initials="SL" lastIdx="1" clrIdx="1">
    <p:extLst>
      <p:ext uri="{19B8F6BF-5375-455C-9EA6-DF929625EA0E}">
        <p15:presenceInfo xmlns:p15="http://schemas.microsoft.com/office/powerpoint/2012/main" userId="S-1-5-21-3573492109-583460899-1306623870-12438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CC33"/>
    <a:srgbClr val="333399"/>
    <a:srgbClr val="008000"/>
    <a:srgbClr val="E7F3F4"/>
    <a:srgbClr val="F3F9FA"/>
    <a:srgbClr val="E0F9FC"/>
    <a:srgbClr val="00307E"/>
    <a:srgbClr val="72C7E7"/>
    <a:srgbClr val="113782"/>
    <a:srgbClr val="0026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45" autoAdjust="0"/>
    <p:restoredTop sz="92140" autoAdjust="0"/>
  </p:normalViewPr>
  <p:slideViewPr>
    <p:cSldViewPr>
      <p:cViewPr varScale="1">
        <p:scale>
          <a:sx n="62" d="100"/>
          <a:sy n="62" d="100"/>
        </p:scale>
        <p:origin x="1348" y="36"/>
      </p:cViewPr>
      <p:guideLst>
        <p:guide orient="horz" pos="3974"/>
        <p:guide pos="2880"/>
      </p:guideLst>
    </p:cSldViewPr>
  </p:slideViewPr>
  <p:outlineViewPr>
    <p:cViewPr>
      <p:scale>
        <a:sx n="33" d="100"/>
        <a:sy n="33" d="100"/>
      </p:scale>
      <p:origin x="0" y="-164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099" cy="496967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40" y="1"/>
            <a:ext cx="2949099" cy="496967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F7E20F7D-4060-4C30-90AB-0DB341C174AA}" type="datetimeFigureOut">
              <a:rPr lang="en-AU" smtClean="0"/>
              <a:pPr/>
              <a:t>19/03/2020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5700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lIns="91432" tIns="45716" rIns="91432" bIns="45716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40647"/>
            <a:ext cx="2949099" cy="496967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40" y="9440647"/>
            <a:ext cx="2949099" cy="496967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A26AEA83-CFAA-4D8C-ABFB-F1A35A712C33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5296161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6AEA83-CFAA-4D8C-ABFB-F1A35A712C33}" type="slidenum">
              <a:rPr lang="en-AU" smtClean="0"/>
              <a:pPr/>
              <a:t>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364176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6AEA83-CFAA-4D8C-ABFB-F1A35A712C33}" type="slidenum">
              <a:rPr lang="en-AU" smtClean="0"/>
              <a:pPr/>
              <a:t>2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8537314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6AEA83-CFAA-4D8C-ABFB-F1A35A712C33}" type="slidenum">
              <a:rPr lang="en-AU" smtClean="0"/>
              <a:pPr/>
              <a:t>3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2198239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552" y="1916832"/>
            <a:ext cx="7772400" cy="1470025"/>
          </a:xfrm>
        </p:spPr>
        <p:txBody>
          <a:bodyPr/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552" y="4196482"/>
            <a:ext cx="6120680" cy="888702"/>
          </a:xfrm>
        </p:spPr>
        <p:txBody>
          <a:bodyPr/>
          <a:lstStyle>
            <a:lvl1pPr marL="0" indent="0" algn="l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AU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539552" y="5301208"/>
            <a:ext cx="2133600" cy="288000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/>
              <a:t>DD Month 2014</a:t>
            </a:r>
            <a:endParaRPr lang="en-A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38327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0306" y="116632"/>
            <a:ext cx="8229600" cy="12241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00808"/>
            <a:ext cx="8229600" cy="4608512"/>
          </a:xfrm>
        </p:spPr>
        <p:txBody>
          <a:bodyPr/>
          <a:lstStyle>
            <a:lvl2pPr>
              <a:buFont typeface="Wingdings" pitchFamily="2" charset="2"/>
              <a:buChar char="Ø"/>
              <a:defRPr/>
            </a:lvl2pPr>
            <a:lvl3pPr>
              <a:buFont typeface="Arial" pitchFamily="34" charset="0"/>
              <a:buChar char="−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dirty="0"/>
              <a:t>14 May 2013</a:t>
            </a:r>
            <a:endParaRPr lang="en-AU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4F0BC93-622D-4964-921F-55B8C667A1AC}" type="slidenum">
              <a:rPr lang="en-AU" smtClean="0"/>
              <a:pPr>
                <a:defRPr/>
              </a:pPr>
              <a:t>‹#›</a:t>
            </a:fld>
            <a:endParaRPr lang="en-A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3600" b="1" cap="all"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14 May 2013</a:t>
            </a:r>
            <a:endParaRPr lang="en-AU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453368"/>
            <a:ext cx="2895600" cy="2880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D2C12F-7ED5-4845-BD5A-6477069A2082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12241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700808"/>
            <a:ext cx="4038600" cy="460851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00808"/>
            <a:ext cx="4038600" cy="460851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14 May 2013</a:t>
            </a:r>
            <a:endParaRPr lang="en-A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C3D7134-0F07-4EF9-8846-BC2DC3A522B6}" type="slidenum">
              <a:rPr lang="en-AU" smtClean="0"/>
              <a:pPr>
                <a:defRPr/>
              </a:pPr>
              <a:t>‹#›</a:t>
            </a:fld>
            <a:endParaRPr lang="en-A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40768"/>
            <a:ext cx="4040188" cy="1080120"/>
          </a:xfrm>
        </p:spPr>
        <p:txBody>
          <a:bodyPr anchor="ctr" anchorCtr="0"/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14 May 2013</a:t>
            </a:r>
            <a:endParaRPr lang="en-AU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453368"/>
            <a:ext cx="2895600" cy="2880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A3E9A4-0A89-4B70-9474-FEFB5355D53F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4"/>
          </p:nvPr>
        </p:nvSpPr>
        <p:spPr>
          <a:xfrm>
            <a:off x="4648200" y="1340768"/>
            <a:ext cx="4040188" cy="1080120"/>
          </a:xfrm>
        </p:spPr>
        <p:txBody>
          <a:bodyPr anchor="ctr" anchorCtr="0"/>
          <a:lstStyle>
            <a:lvl1pPr marL="0" indent="0">
              <a:buNone/>
              <a:defRPr sz="2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5"/>
          </p:nvPr>
        </p:nvSpPr>
        <p:spPr>
          <a:xfrm>
            <a:off x="457200" y="2492375"/>
            <a:ext cx="4038600" cy="36337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492375"/>
            <a:ext cx="4038600" cy="36337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14 May 2013</a:t>
            </a:r>
            <a:endParaRPr lang="en-AU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453368"/>
            <a:ext cx="2895600" cy="2880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720ED3-5560-4060-9E35-2B5E1902E07E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1145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14 May 2013</a:t>
            </a:r>
            <a:endParaRPr lang="en-AU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453368"/>
            <a:ext cx="2895600" cy="2880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C6D37E-0783-4EDE-96D6-1243F475E753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9662" y="5157192"/>
            <a:ext cx="6084676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11660" y="1412776"/>
            <a:ext cx="6120680" cy="367240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  <a:endParaRPr lang="en-AU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529662" y="5723930"/>
            <a:ext cx="6084676" cy="4389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14 May 2013</a:t>
            </a:r>
            <a:endParaRPr lang="en-AU" dirty="0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453368"/>
            <a:ext cx="2895600" cy="2880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AU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A8CA54-EF9B-4F91-BA2D-EE2A2CD14941}" type="slidenum">
              <a:rPr lang="en-AU"/>
              <a:pPr>
                <a:defRPr/>
              </a:pPr>
              <a:t>‹#›</a:t>
            </a:fld>
            <a:endParaRPr lang="en-A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120612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88640"/>
            <a:ext cx="8229600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700808"/>
            <a:ext cx="8229600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453368"/>
            <a:ext cx="21336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4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dirty="0"/>
              <a:t>DD Month 2014</a:t>
            </a:r>
            <a:endParaRPr lang="en-AU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453368"/>
            <a:ext cx="21336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4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C3D7134-0F07-4EF9-8846-BC2DC3A522B6}" type="slidenum">
              <a:rPr lang="en-AU" smtClean="0"/>
              <a:pPr>
                <a:defRPr/>
              </a:pPr>
              <a:t>‹#›</a:t>
            </a:fld>
            <a:endParaRPr lang="en-A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84" r:id="rId2"/>
    <p:sldLayoutId id="2147483683" r:id="rId3"/>
    <p:sldLayoutId id="2147483682" r:id="rId4"/>
    <p:sldLayoutId id="2147483681" r:id="rId5"/>
    <p:sldLayoutId id="2147483680" r:id="rId6"/>
    <p:sldLayoutId id="2147483679" r:id="rId7"/>
    <p:sldLayoutId id="2147483677" r:id="rId8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2664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2664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2664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2664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2664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2664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2664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2664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−"/>
        <a:defRPr sz="16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w"/>
        <a:defRPr sz="14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400">
          <a:solidFill>
            <a:srgbClr val="002664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9.xml"/><Relationship Id="rId7" Type="http://schemas.openxmlformats.org/officeDocument/2006/relationships/oleObject" Target="../embeddings/oleObject5.bin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395536" y="2708920"/>
            <a:ext cx="8280920" cy="1470025"/>
          </a:xfrm>
        </p:spPr>
        <p:txBody>
          <a:bodyPr/>
          <a:lstStyle/>
          <a:p>
            <a:r>
              <a:rPr lang="en-AU" sz="3200" dirty="0"/>
              <a:t>[ENGAGEMENT TITLE]</a:t>
            </a:r>
            <a:br>
              <a:rPr lang="en-AU" sz="3200" dirty="0"/>
            </a:br>
            <a:endParaRPr lang="en-AU" sz="3200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Xx Month 2018</a:t>
            </a:r>
            <a:endParaRPr lang="en-AU" dirty="0"/>
          </a:p>
        </p:txBody>
      </p:sp>
      <p:sp>
        <p:nvSpPr>
          <p:cNvPr id="5" name="TextBox 4"/>
          <p:cNvSpPr txBox="1"/>
          <p:nvPr/>
        </p:nvSpPr>
        <p:spPr>
          <a:xfrm>
            <a:off x="5436096" y="707097"/>
            <a:ext cx="32758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000" b="1" dirty="0">
                <a:solidFill>
                  <a:schemeClr val="bg1"/>
                </a:solidFill>
              </a:rPr>
              <a:t>Draft for Discussion</a:t>
            </a:r>
          </a:p>
          <a:p>
            <a:r>
              <a:rPr lang="en-AU" sz="2000" b="1" dirty="0">
                <a:solidFill>
                  <a:schemeClr val="bg1"/>
                </a:solidFill>
              </a:rPr>
              <a:t>Confidential 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AU" dirty="0"/>
              <a:t>RFT XXX Submission Feedback for &lt;&lt;Supplier&gt;&gt;</a:t>
            </a:r>
          </a:p>
        </p:txBody>
      </p:sp>
    </p:spTree>
    <p:extLst>
      <p:ext uri="{BB962C8B-B14F-4D97-AF65-F5344CB8AC3E}">
        <p14:creationId xmlns:p14="http://schemas.microsoft.com/office/powerpoint/2010/main" val="12799853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19422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AU" sz="10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251520" y="188640"/>
            <a:ext cx="8712968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9pPr>
          </a:lstStyle>
          <a:p>
            <a:r>
              <a:rPr lang="en-AU" b="1" kern="0" dirty="0"/>
              <a:t> Shortlisted - Supplier - Response Feedback 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5553939"/>
              </p:ext>
            </p:extLst>
          </p:nvPr>
        </p:nvGraphicFramePr>
        <p:xfrm>
          <a:off x="179512" y="1412776"/>
          <a:ext cx="8784976" cy="3526097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9356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700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189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189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7004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87134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75528">
                <a:tc rowSpan="2">
                  <a:txBody>
                    <a:bodyPr/>
                    <a:lstStyle/>
                    <a:p>
                      <a:pPr marL="0" indent="0" algn="l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AU" sz="11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</a:rPr>
                        <a:t>Response</a:t>
                      </a:r>
                      <a:r>
                        <a:rPr lang="en-AU" sz="1100" b="1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</a:rPr>
                        <a:t> Section</a:t>
                      </a:r>
                      <a:endParaRPr lang="en-AU" sz="11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AU" sz="1100" kern="1200" baseline="0" dirty="0">
                          <a:effectLst/>
                        </a:rPr>
                        <a:t>Comparison to Benchmark</a:t>
                      </a:r>
                      <a:endParaRPr lang="en-AU" sz="1100" b="0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AU" sz="11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>
                    <a:solidFill>
                      <a:srgbClr val="00266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AU" sz="11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>
                    <a:solidFill>
                      <a:srgbClr val="00266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AU" sz="11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>
                    <a:solidFill>
                      <a:srgbClr val="00266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AU" sz="11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</a:rPr>
                        <a:t>Item for</a:t>
                      </a:r>
                      <a:r>
                        <a:rPr lang="en-AU" sz="1100" b="1" baseline="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</a:rPr>
                        <a:t> Clarification</a:t>
                      </a:r>
                      <a:endParaRPr lang="en-AU" sz="11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5528">
                <a:tc vMerge="1"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1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00266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AU" sz="1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0-10%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AU" sz="1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11-20%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AU" sz="1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20-40%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AU" sz="1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40%+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1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0026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6111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A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Number of Days Propos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AU" sz="11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Days proposed are significantly out of line with other proposals.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606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A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Daily</a:t>
                      </a:r>
                      <a:r>
                        <a:rPr lang="en-AU" sz="11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 Rates</a:t>
                      </a:r>
                      <a:endParaRPr lang="en-A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A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Rates exceed </a:t>
                      </a:r>
                      <a:r>
                        <a:rPr lang="en-AU" sz="11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Govt</a:t>
                      </a:r>
                      <a:r>
                        <a:rPr lang="en-AU" sz="11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 historical rates paid. </a:t>
                      </a:r>
                      <a:endParaRPr lang="en-A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A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Resource Mi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AU" sz="11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Resource mix looks appropriate. No action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A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Disbursem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A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Exception to the 7% cap for travel to sites noted and accepted. No action.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975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A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Service Quality</a:t>
                      </a:r>
                    </a:p>
                  </a:txBody>
                  <a:tcPr anchor="ctr"/>
                </a:tc>
                <a:tc gridSpan="5">
                  <a:txBody>
                    <a:bodyPr/>
                    <a:lstStyle/>
                    <a:p>
                      <a:pPr marL="0" indent="0" algn="l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AU" sz="11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Only service providers with known relevant expertise were invited to tender. Your qualitative response ranked X out of the X respondents and demonstrated strong category expertise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A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5" name="Oval 24"/>
          <p:cNvSpPr/>
          <p:nvPr/>
        </p:nvSpPr>
        <p:spPr bwMode="auto">
          <a:xfrm>
            <a:off x="3923928" y="2276996"/>
            <a:ext cx="215900" cy="215900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9" name="Slide Number Placeholder 1"/>
          <p:cNvSpPr txBox="1">
            <a:spLocks/>
          </p:cNvSpPr>
          <p:nvPr/>
        </p:nvSpPr>
        <p:spPr bwMode="auto">
          <a:xfrm>
            <a:off x="6902896" y="6570662"/>
            <a:ext cx="2133600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defPPr>
              <a:defRPr lang="en-A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08CBE315-7047-4D6B-BF29-A8D84A4E3EEB}" type="slidenum">
              <a:rPr lang="en-US" sz="1000" smtClean="0"/>
              <a:t>2</a:t>
            </a:fld>
            <a:endParaRPr lang="en-US" sz="1000" dirty="0"/>
          </a:p>
        </p:txBody>
      </p:sp>
      <p:sp>
        <p:nvSpPr>
          <p:cNvPr id="80" name="Oval 79"/>
          <p:cNvSpPr/>
          <p:nvPr/>
        </p:nvSpPr>
        <p:spPr bwMode="auto">
          <a:xfrm>
            <a:off x="3131840" y="3145106"/>
            <a:ext cx="215900" cy="215900"/>
          </a:xfrm>
          <a:prstGeom prst="ellipse">
            <a:avLst/>
          </a:prstGeom>
          <a:solidFill>
            <a:srgbClr val="FF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2" name="Oval 81"/>
          <p:cNvSpPr/>
          <p:nvPr/>
        </p:nvSpPr>
        <p:spPr bwMode="auto">
          <a:xfrm>
            <a:off x="2411760" y="3645024"/>
            <a:ext cx="215900" cy="215900"/>
          </a:xfrm>
          <a:prstGeom prst="ellipse">
            <a:avLst/>
          </a:prstGeom>
          <a:solidFill>
            <a:srgbClr val="33CC3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3" name="Oval 82"/>
          <p:cNvSpPr/>
          <p:nvPr>
            <p:custDataLst>
              <p:tags r:id="rId4"/>
            </p:custDataLst>
          </p:nvPr>
        </p:nvSpPr>
        <p:spPr bwMode="auto">
          <a:xfrm>
            <a:off x="2411760" y="4149080"/>
            <a:ext cx="215900" cy="215900"/>
          </a:xfrm>
          <a:prstGeom prst="ellipse">
            <a:avLst/>
          </a:prstGeom>
          <a:solidFill>
            <a:srgbClr val="33CC3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aphicFrame>
        <p:nvGraphicFramePr>
          <p:cNvPr id="84" name="Table 8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5720049"/>
              </p:ext>
            </p:extLst>
          </p:nvPr>
        </p:nvGraphicFramePr>
        <p:xfrm>
          <a:off x="179512" y="5199250"/>
          <a:ext cx="8784976" cy="11849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849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4181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b="1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      Revised</a:t>
                      </a:r>
                      <a:r>
                        <a:rPr lang="en-AU" sz="1400" b="1" baseline="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 final submission to reflect the points above and comments below</a:t>
                      </a:r>
                      <a:endParaRPr lang="en-AU" sz="1400" b="1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4315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4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</a:t>
                      </a:r>
                      <a:endParaRPr lang="en-AU" sz="1400" i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4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4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</a:t>
                      </a:r>
                      <a:endParaRPr lang="en-AU" sz="140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0405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AU" sz="10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298655" y="188640"/>
            <a:ext cx="8579296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2664"/>
                </a:solidFill>
                <a:latin typeface="Arial" charset="0"/>
              </a:defRPr>
            </a:lvl9pPr>
          </a:lstStyle>
          <a:p>
            <a:r>
              <a:rPr lang="en-AU" b="1" kern="0" dirty="0"/>
              <a:t>Not Shortlisted - Supplier - Response Feedback 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4631951"/>
              </p:ext>
            </p:extLst>
          </p:nvPr>
        </p:nvGraphicFramePr>
        <p:xfrm>
          <a:off x="179512" y="1493791"/>
          <a:ext cx="8784977" cy="3285065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9354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700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189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189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700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87149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75528">
                <a:tc rowSpan="2">
                  <a:txBody>
                    <a:bodyPr/>
                    <a:lstStyle/>
                    <a:p>
                      <a:pPr marL="0" indent="0" algn="l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AU" sz="1100" b="1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</a:rPr>
                        <a:t>Response</a:t>
                      </a:r>
                      <a:r>
                        <a:rPr lang="en-AU" sz="1100" b="1" baseline="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</a:rPr>
                        <a:t> Section</a:t>
                      </a:r>
                      <a:endParaRPr lang="en-AU" sz="11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AU" sz="1100" kern="1200" baseline="0" dirty="0">
                          <a:effectLst/>
                        </a:rPr>
                        <a:t>Comparison to Benchmark</a:t>
                      </a:r>
                      <a:endParaRPr lang="en-AU" sz="1100" b="0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AU" sz="11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>
                    <a:solidFill>
                      <a:srgbClr val="00266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AU" sz="11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>
                    <a:solidFill>
                      <a:srgbClr val="00266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AU" sz="11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>
                    <a:solidFill>
                      <a:srgbClr val="00266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AU" sz="1100" b="1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</a:rPr>
                        <a:t>Item for</a:t>
                      </a:r>
                      <a:r>
                        <a:rPr lang="en-AU" sz="1100" b="1" baseline="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</a:rPr>
                        <a:t> Clarification</a:t>
                      </a:r>
                      <a:endParaRPr lang="en-AU" sz="11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5528">
                <a:tc vMerge="1"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1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00266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AU" sz="1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0-10%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AU" sz="1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11-20%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AU" sz="1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20-40%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AU" sz="1100" b="1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40%+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1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00266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00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A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Number of Days Propos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AU" sz="11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Days proposed are consistent</a:t>
                      </a:r>
                      <a:r>
                        <a:rPr lang="en-AU" sz="1100" baseline="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 with other responses</a:t>
                      </a:r>
                      <a:endParaRPr lang="en-AU" sz="11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606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A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Daily</a:t>
                      </a:r>
                      <a:r>
                        <a:rPr lang="en-AU" sz="110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 Rates</a:t>
                      </a:r>
                      <a:endParaRPr lang="en-A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A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Day rates are very competitiv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A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Resource Mix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l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AU" sz="11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Resource mix is very top heavy but given the competitive rates of senior staff this does not present an issu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A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Disbursemen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A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Complies with all aspects of the disbursement polic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2977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A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+mn-cs"/>
                        </a:rPr>
                        <a:t>Service Quality</a:t>
                      </a:r>
                    </a:p>
                  </a:txBody>
                  <a:tcPr anchor="ctr"/>
                </a:tc>
                <a:tc gridSpan="5">
                  <a:txBody>
                    <a:bodyPr/>
                    <a:lstStyle/>
                    <a:p>
                      <a:pPr marL="0" indent="0" algn="l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AU" sz="11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Only service providers with known relevant expertise were invited to tender. Your qualitative response ranked X out of the respondents and did not demonstrate</a:t>
                      </a:r>
                      <a:r>
                        <a:rPr lang="en-AU" sz="1100" baseline="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 sufficient</a:t>
                      </a:r>
                      <a:r>
                        <a:rPr lang="en-AU" sz="1100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 category expertise compared to other respondents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AU" sz="1400" dirty="0">
                        <a:effectLst/>
                        <a:latin typeface="+mj-lt"/>
                        <a:ea typeface="Calibri" panose="020F050202020403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A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5" name="Oval 24"/>
          <p:cNvSpPr/>
          <p:nvPr/>
        </p:nvSpPr>
        <p:spPr bwMode="auto">
          <a:xfrm>
            <a:off x="2386443" y="2209492"/>
            <a:ext cx="215900" cy="215900"/>
          </a:xfrm>
          <a:prstGeom prst="ellipse">
            <a:avLst/>
          </a:prstGeom>
          <a:solidFill>
            <a:srgbClr val="33CC3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9" name="Slide Number Placeholder 1"/>
          <p:cNvSpPr txBox="1">
            <a:spLocks/>
          </p:cNvSpPr>
          <p:nvPr/>
        </p:nvSpPr>
        <p:spPr bwMode="auto">
          <a:xfrm>
            <a:off x="6902896" y="6570662"/>
            <a:ext cx="2133600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defPPr>
              <a:defRPr lang="en-A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08CBE315-7047-4D6B-BF29-A8D84A4E3EEB}" type="slidenum">
              <a:rPr lang="en-US" sz="1000" smtClean="0"/>
              <a:t>3</a:t>
            </a:fld>
            <a:endParaRPr lang="en-US" sz="1000" dirty="0"/>
          </a:p>
        </p:txBody>
      </p:sp>
      <p:sp>
        <p:nvSpPr>
          <p:cNvPr id="80" name="Oval 79"/>
          <p:cNvSpPr/>
          <p:nvPr/>
        </p:nvSpPr>
        <p:spPr bwMode="auto">
          <a:xfrm>
            <a:off x="2386443" y="2749676"/>
            <a:ext cx="215900" cy="215900"/>
          </a:xfrm>
          <a:prstGeom prst="ellipse">
            <a:avLst/>
          </a:prstGeom>
          <a:solidFill>
            <a:srgbClr val="33CC3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2" name="Oval 81"/>
          <p:cNvSpPr/>
          <p:nvPr/>
        </p:nvSpPr>
        <p:spPr bwMode="auto">
          <a:xfrm>
            <a:off x="2386443" y="3284984"/>
            <a:ext cx="215900" cy="215900"/>
          </a:xfrm>
          <a:prstGeom prst="ellipse">
            <a:avLst/>
          </a:prstGeom>
          <a:solidFill>
            <a:srgbClr val="33CC3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3" name="Oval 82"/>
          <p:cNvSpPr/>
          <p:nvPr>
            <p:custDataLst>
              <p:tags r:id="rId4"/>
            </p:custDataLst>
          </p:nvPr>
        </p:nvSpPr>
        <p:spPr bwMode="auto">
          <a:xfrm>
            <a:off x="2386443" y="3789040"/>
            <a:ext cx="215900" cy="215900"/>
          </a:xfrm>
          <a:prstGeom prst="ellipse">
            <a:avLst/>
          </a:prstGeom>
          <a:solidFill>
            <a:srgbClr val="33CC3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aphicFrame>
        <p:nvGraphicFramePr>
          <p:cNvPr id="84" name="Table 8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7280716"/>
              </p:ext>
            </p:extLst>
          </p:nvPr>
        </p:nvGraphicFramePr>
        <p:xfrm>
          <a:off x="179511" y="4941168"/>
          <a:ext cx="8784977" cy="11849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849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4181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b="1" dirty="0">
                          <a:effectLst/>
                          <a:latin typeface="+mj-lt"/>
                          <a:ea typeface="Calibri" panose="020F0502020204030204" pitchFamily="34" charset="0"/>
                        </a:rPr>
                        <a:t> Tender Outcom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4315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4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</a:t>
                      </a:r>
                      <a:endParaRPr lang="en-AU" sz="1400" i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4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AU" sz="14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xx</a:t>
                      </a:r>
                      <a:endParaRPr lang="en-AU" sz="140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36283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9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FE&quot; g=&quot;F8&quot; b=&quot;0A&quot;/&gt;&lt;m_nBrightness val=&quot;0&quot;/&gt;&lt;/elem&gt;&lt;elem m_fUsage=&quot;9.00000000000000022204E-01&quot;&gt;&lt;m_msothmcolidx val=&quot;0&quot;/&gt;&lt;m_rgb r=&quot;AE&quot; g=&quot;6A&quot; b=&quot;3E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0JO3siQtK9Bg0D23MW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jyRN_uRvqLXvrO1BbD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0JO3siQtK9Bg0D23MW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jyRN_uRvqLXvrO1BbD0Q"/>
</p:tagLst>
</file>

<file path=ppt/theme/theme1.xml><?xml version="1.0" encoding="utf-8"?>
<a:theme xmlns:a="http://schemas.openxmlformats.org/drawingml/2006/main" name="DFS white waratah theme">
  <a:themeElements>
    <a:clrScheme name="Custom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SWP PowerPoint (Dark Theme).potx" id="{08298CFD-D1CD-40F3-B11A-5FC4E2EC052D}" vid="{0BF1C4AD-BE1A-47B7-8811-917AB4FE602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3EB8AD1AB5E64DBD9907591D8D8422" ma:contentTypeVersion="10" ma:contentTypeDescription="Create a new document." ma:contentTypeScope="" ma:versionID="f50f51c2f92d27c31ccaada562e812e9">
  <xsd:schema xmlns:xsd="http://www.w3.org/2001/XMLSchema" xmlns:xs="http://www.w3.org/2001/XMLSchema" xmlns:p="http://schemas.microsoft.com/office/2006/metadata/properties" xmlns:ns2="fa5e2ab4-940d-4728-9086-a38b4400f5b6" xmlns:ns3="f2a99c9f-eaec-4ae4-a770-013a50fab095" targetNamespace="http://schemas.microsoft.com/office/2006/metadata/properties" ma:root="true" ma:fieldsID="7e795d7b10cbad50f48bf4a2e8342409" ns2:_="" ns3:_="">
    <xsd:import namespace="fa5e2ab4-940d-4728-9086-a38b4400f5b6"/>
    <xsd:import namespace="f2a99c9f-eaec-4ae4-a770-013a50fab09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5e2ab4-940d-4728-9086-a38b4400f5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a99c9f-eaec-4ae4-a770-013a50fab09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2a99c9f-eaec-4ae4-a770-013a50fab095">
      <UserInfo>
        <DisplayName>Suellen McAlpin</DisplayName>
        <AccountId>245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3C642627-DC74-472B-A824-9061E0D1A81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a5e2ab4-940d-4728-9086-a38b4400f5b6"/>
    <ds:schemaRef ds:uri="f2a99c9f-eaec-4ae4-a770-013a50fab0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0B16DB3-0660-4261-AF64-0D257A65F8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4EC9ADD-124F-48E8-83ED-C2BFC8950F08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purl.org/dc/dcmitype/"/>
    <ds:schemaRef ds:uri="f2a99c9f-eaec-4ae4-a770-013a50fab095"/>
    <ds:schemaRef ds:uri="http://schemas.microsoft.com/office/infopath/2007/PartnerControls"/>
    <ds:schemaRef ds:uri="http://schemas.openxmlformats.org/package/2006/metadata/core-properties"/>
    <ds:schemaRef ds:uri="fa5e2ab4-940d-4728-9086-a38b4400f5b6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SWP PowerPoint (Dark Theme)</Template>
  <TotalTime>30726</TotalTime>
  <Words>255</Words>
  <Application>Microsoft Office PowerPoint</Application>
  <PresentationFormat>On-screen Show (4:3)</PresentationFormat>
  <Paragraphs>54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Calibri</vt:lpstr>
      <vt:lpstr>Wingdings</vt:lpstr>
      <vt:lpstr>DFS white waratah theme</vt:lpstr>
      <vt:lpstr>think-cell Slide</vt:lpstr>
      <vt:lpstr>[ENGAGEMENT TITLE] </vt:lpstr>
      <vt:lpstr>PowerPoint Presentation</vt:lpstr>
      <vt:lpstr>PowerPoint Presentation</vt:lpstr>
    </vt:vector>
  </TitlesOfParts>
  <Company>ServiceFirs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curement Benefits Program</dc:title>
  <dc:creator>Charles Jobson</dc:creator>
  <cp:lastModifiedBy>Lateisha Peachey</cp:lastModifiedBy>
  <cp:revision>1100</cp:revision>
  <cp:lastPrinted>2017-01-10T02:51:04Z</cp:lastPrinted>
  <dcterms:created xsi:type="dcterms:W3CDTF">2015-07-20T23:29:12Z</dcterms:created>
  <dcterms:modified xsi:type="dcterms:W3CDTF">2020-03-19T04:01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B3EB8AD1AB5E64DBD9907591D8D8422</vt:lpwstr>
  </property>
</Properties>
</file>